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8"/>
  </p:notesMasterIdLst>
  <p:sldIdLst>
    <p:sldId id="302" r:id="rId2"/>
    <p:sldId id="507" r:id="rId3"/>
    <p:sldId id="333" r:id="rId4"/>
    <p:sldId id="312" r:id="rId5"/>
    <p:sldId id="521" r:id="rId6"/>
    <p:sldId id="505" r:id="rId7"/>
    <p:sldId id="299" r:id="rId8"/>
    <p:sldId id="512" r:id="rId9"/>
    <p:sldId id="511" r:id="rId10"/>
    <p:sldId id="288" r:id="rId11"/>
    <p:sldId id="516" r:id="rId12"/>
    <p:sldId id="515" r:id="rId13"/>
    <p:sldId id="520" r:id="rId14"/>
    <p:sldId id="518" r:id="rId15"/>
    <p:sldId id="513" r:id="rId16"/>
    <p:sldId id="276" r:id="rId17"/>
    <p:sldId id="292" r:id="rId18"/>
    <p:sldId id="517" r:id="rId19"/>
    <p:sldId id="322" r:id="rId20"/>
    <p:sldId id="321" r:id="rId21"/>
    <p:sldId id="323" r:id="rId22"/>
    <p:sldId id="522" r:id="rId23"/>
    <p:sldId id="308" r:id="rId24"/>
    <p:sldId id="275" r:id="rId25"/>
    <p:sldId id="300" r:id="rId26"/>
    <p:sldId id="301" r:id="rId27"/>
  </p:sldIdLst>
  <p:sldSz cx="12192000" cy="6858000"/>
  <p:notesSz cx="7086600" cy="9372600"/>
  <p:custDataLst>
    <p:tags r:id="rId2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3264C8"/>
    <a:srgbClr val="003399"/>
    <a:srgbClr val="C8D8E6"/>
    <a:srgbClr val="A7BDE9"/>
    <a:srgbClr val="535353"/>
    <a:srgbClr val="A6A6A6"/>
    <a:srgbClr val="7F9FD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58" autoAdjust="0"/>
    <p:restoredTop sz="93073" autoAdjust="0"/>
  </p:normalViewPr>
  <p:slideViewPr>
    <p:cSldViewPr showGuides="1">
      <p:cViewPr varScale="1">
        <p:scale>
          <a:sx n="107" d="100"/>
          <a:sy n="107" d="100"/>
        </p:scale>
        <p:origin x="906" y="96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3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 dirty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80046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DE64D1-E361-4249-981D-9AF084A9377F}"/>
              </a:ext>
            </a:extLst>
          </p:cNvPr>
          <p:cNvSpPr/>
          <p:nvPr userDrawn="1"/>
        </p:nvSpPr>
        <p:spPr>
          <a:xfrm>
            <a:off x="0" y="0"/>
            <a:ext cx="12192000" cy="837000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67637" y="45000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8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691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3 'The Tabulating Machine' (2021-05-27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061000"/>
            <a:ext cx="11232000" cy="2088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Examples</a:t>
            </a:r>
            <a:endParaRPr lang="de-CH" sz="5400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682A5A8-CBB8-4C44-AF2F-70C6453AB860}"/>
              </a:ext>
            </a:extLst>
          </p:cNvPr>
          <p:cNvSpPr/>
          <p:nvPr/>
        </p:nvSpPr>
        <p:spPr>
          <a:xfrm>
            <a:off x="7824001" y="1137147"/>
            <a:ext cx="3528000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829398-B287-A64A-948E-DFA34973317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Triangle 19">
            <a:extLst>
              <a:ext uri="{FF2B5EF4-FFF2-40B4-BE49-F238E27FC236}">
                <a16:creationId xmlns:a16="http://schemas.microsoft.com/office/drawing/2014/main" id="{F3863493-B3F6-A448-BA0C-EE7C96C9CA14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48D6845D-0323-584C-BB5A-4A4B309C2F05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783" y="3553207"/>
            <a:ext cx="2138787" cy="156089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847033" y="5744889"/>
            <a:ext cx="8497934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16764" y="3211454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2434" y="1606388"/>
            <a:ext cx="3442560" cy="3168000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45" name="Gruppieren 20">
            <a:extLst>
              <a:ext uri="{FF2B5EF4-FFF2-40B4-BE49-F238E27FC236}">
                <a16:creationId xmlns:a16="http://schemas.microsoft.com/office/drawing/2014/main" id="{8AED75AA-347E-D54B-8FBC-D6C469A13876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48" name="Rechteck: abgerundete Ecken 14">
              <a:extLst>
                <a:ext uri="{FF2B5EF4-FFF2-40B4-BE49-F238E27FC236}">
                  <a16:creationId xmlns:a16="http://schemas.microsoft.com/office/drawing/2014/main" id="{F12A5296-5952-4644-9E45-10EBC677F557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9" name="B4P">
              <a:extLst>
                <a:ext uri="{FF2B5EF4-FFF2-40B4-BE49-F238E27FC236}">
                  <a16:creationId xmlns:a16="http://schemas.microsoft.com/office/drawing/2014/main" id="{18D9162D-BD4C-0B4B-8737-C9CD59A74343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50" name="Triangle">
              <a:extLst>
                <a:ext uri="{FF2B5EF4-FFF2-40B4-BE49-F238E27FC236}">
                  <a16:creationId xmlns:a16="http://schemas.microsoft.com/office/drawing/2014/main" id="{58043186-6366-E84C-BE80-2B49FDE54691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46" name="Right Arrow 26">
            <a:extLst>
              <a:ext uri="{FF2B5EF4-FFF2-40B4-BE49-F238E27FC236}">
                <a16:creationId xmlns:a16="http://schemas.microsoft.com/office/drawing/2014/main" id="{EB89E092-C779-6842-9C80-05A79719BC52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Right Arrow 27">
            <a:extLst>
              <a:ext uri="{FF2B5EF4-FFF2-40B4-BE49-F238E27FC236}">
                <a16:creationId xmlns:a16="http://schemas.microsoft.com/office/drawing/2014/main" id="{79D12D36-16A6-204B-8526-A97A1EB02AD9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9117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Rechteck 17">
            <a:extLst>
              <a:ext uri="{FF2B5EF4-FFF2-40B4-BE49-F238E27FC236}">
                <a16:creationId xmlns:a16="http://schemas.microsoft.com/office/drawing/2014/main" id="{44E64DC7-8265-1C4E-89DE-F09A563E0906}"/>
              </a:ext>
            </a:extLst>
          </p:cNvPr>
          <p:cNvSpPr/>
          <p:nvPr/>
        </p:nvSpPr>
        <p:spPr>
          <a:xfrm>
            <a:off x="9058841" y="1718918"/>
            <a:ext cx="2592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asy to read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40" name="Rechteck 19">
            <a:extLst>
              <a:ext uri="{FF2B5EF4-FFF2-40B4-BE49-F238E27FC236}">
                <a16:creationId xmlns:a16="http://schemas.microsoft.com/office/drawing/2014/main" id="{26942C29-75C3-4542-904B-6E0818C5F1EC}"/>
              </a:ext>
            </a:extLst>
          </p:cNvPr>
          <p:cNvSpPr/>
          <p:nvPr/>
        </p:nvSpPr>
        <p:spPr>
          <a:xfrm>
            <a:off x="9047995" y="2493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and flexible function librar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just small number of loo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nd variables needed for coding</a:t>
            </a:r>
          </a:p>
        </p:txBody>
      </p:sp>
      <p:sp>
        <p:nvSpPr>
          <p:cNvPr id="41" name="Rechteck 20">
            <a:extLst>
              <a:ext uri="{FF2B5EF4-FFF2-40B4-BE49-F238E27FC236}">
                <a16:creationId xmlns:a16="http://schemas.microsoft.com/office/drawing/2014/main" id="{9E669716-794D-DE4C-925B-A1D5EDF5C59C}"/>
              </a:ext>
            </a:extLst>
          </p:cNvPr>
          <p:cNvSpPr/>
          <p:nvPr/>
        </p:nvSpPr>
        <p:spPr>
          <a:xfrm>
            <a:off x="9065166" y="3177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  <p:sp>
        <p:nvSpPr>
          <p:cNvPr id="43" name="Rechteck 29">
            <a:extLst>
              <a:ext uri="{FF2B5EF4-FFF2-40B4-BE49-F238E27FC236}">
                <a16:creationId xmlns:a16="http://schemas.microsoft.com/office/drawing/2014/main" id="{51564DEC-F5C5-524B-8791-A3BA02F20C91}"/>
              </a:ext>
            </a:extLst>
          </p:cNvPr>
          <p:cNvSpPr/>
          <p:nvPr/>
        </p:nvSpPr>
        <p:spPr>
          <a:xfrm>
            <a:off x="9032049" y="3933393"/>
            <a:ext cx="252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C85FA7E-4CC6-4E40-8AF5-7504EC3636F2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8 Statements</a:t>
            </a:r>
            <a:r>
              <a:rPr lang="en-US" b="1">
                <a:solidFill>
                  <a:schemeClr val="bg1">
                    <a:lumMod val="50000"/>
                  </a:schemeClr>
                </a:solidFill>
              </a:rPr>
              <a:t>.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4967424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9048000" y="5013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30F75A3-2C10-41F2-909E-6937FCCDD98C}"/>
              </a:ext>
            </a:extLst>
          </p:cNvPr>
          <p:cNvSpPr/>
          <p:nvPr/>
        </p:nvSpPr>
        <p:spPr>
          <a:xfrm>
            <a:off x="336000" y="47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3EE4C5-F45C-9442-92DD-0DE614C56CBD}"/>
              </a:ext>
            </a:extLst>
          </p:cNvPr>
          <p:cNvSpPr/>
          <p:nvPr/>
        </p:nvSpPr>
        <p:spPr>
          <a:xfrm>
            <a:off x="1648737" y="4626941"/>
            <a:ext cx="7255263" cy="1300967"/>
          </a:xfrm>
          <a:prstGeom prst="rect">
            <a:avLst/>
          </a:prstGeom>
          <a:solidFill>
            <a:srgbClr val="3264C8">
              <a:alpha val="1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32C5C7-A37C-7E48-88F8-E483FF4DDCA7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8 Statements.         Formatting: 5 Statements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197536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e Online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878250" y="5517000"/>
            <a:ext cx="7434000" cy="12754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2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3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8CB45BB-5949-104E-A0C0-6D4C33ECC84C}"/>
              </a:ext>
            </a:extLst>
          </p:cNvPr>
          <p:cNvSpPr/>
          <p:nvPr/>
        </p:nvSpPr>
        <p:spPr>
          <a:xfrm>
            <a:off x="7824001" y="1137147"/>
            <a:ext cx="4034408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A9F7DA-C2D9-764D-86E6-A3D61619527C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D09CE7B2-DA47-2E4F-AD87-46B589C2F56E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Triangle 18">
            <a:extLst>
              <a:ext uri="{FF2B5EF4-FFF2-40B4-BE49-F238E27FC236}">
                <a16:creationId xmlns:a16="http://schemas.microsoft.com/office/drawing/2014/main" id="{D1A6B0E9-FAED-C049-952F-CAB3C4C7039F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0" name="Gruppieren 20">
            <a:extLst>
              <a:ext uri="{FF2B5EF4-FFF2-40B4-BE49-F238E27FC236}">
                <a16:creationId xmlns:a16="http://schemas.microsoft.com/office/drawing/2014/main" id="{A234161B-3169-4D49-8857-16809565A873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1" name="Rechteck: abgerundete Ecken 14">
              <a:extLst>
                <a:ext uri="{FF2B5EF4-FFF2-40B4-BE49-F238E27FC236}">
                  <a16:creationId xmlns:a16="http://schemas.microsoft.com/office/drawing/2014/main" id="{F560B1E9-DCD5-9643-A129-594439210202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" name="B4P">
              <a:extLst>
                <a:ext uri="{FF2B5EF4-FFF2-40B4-BE49-F238E27FC236}">
                  <a16:creationId xmlns:a16="http://schemas.microsoft.com/office/drawing/2014/main" id="{960EAEE4-091A-ED40-9BEA-0322F8FEE6F9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23" name="Triangle">
              <a:extLst>
                <a:ext uri="{FF2B5EF4-FFF2-40B4-BE49-F238E27FC236}">
                  <a16:creationId xmlns:a16="http://schemas.microsoft.com/office/drawing/2014/main" id="{709D0031-309C-8643-BD26-36F1B450235E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24" name="Right Arrow 26">
            <a:extLst>
              <a:ext uri="{FF2B5EF4-FFF2-40B4-BE49-F238E27FC236}">
                <a16:creationId xmlns:a16="http://schemas.microsoft.com/office/drawing/2014/main" id="{9E501804-E673-8D4D-8A7D-1EC19365DFFD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Right Arrow 27">
            <a:extLst>
              <a:ext uri="{FF2B5EF4-FFF2-40B4-BE49-F238E27FC236}">
                <a16:creationId xmlns:a16="http://schemas.microsoft.com/office/drawing/2014/main" id="{9DB10D56-CF9A-9F42-86F6-2AF8938458F9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7" name="Grafik 5">
            <a:extLst>
              <a:ext uri="{FF2B5EF4-FFF2-40B4-BE49-F238E27FC236}">
                <a16:creationId xmlns:a16="http://schemas.microsoft.com/office/drawing/2014/main" id="{0E8168F4-97E7-0343-9AF7-D523EE65A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6209" y="2095798"/>
            <a:ext cx="4328573" cy="223949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126789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E20C7C10-E57A-9148-8EA4-A043D0D7DCA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79" y="1328504"/>
            <a:ext cx="2550621" cy="224467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02948E6F-A4FD-5640-ABD2-BA6FE5C82E2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91" y="2834012"/>
            <a:ext cx="2611412" cy="228419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33668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nasdaq100, sp500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, { 2: row() }, single, text color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i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[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56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815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325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679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DBFE2A-28DA-446E-9520-8B90EEFFE95F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4B938C-C279-4D92-909D-9DBC2B7AD444}"/>
              </a:ext>
            </a:extLst>
          </p:cNvPr>
          <p:cNvSpPr/>
          <p:nvPr/>
        </p:nvSpPr>
        <p:spPr>
          <a:xfrm>
            <a:off x="336000" y="227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613040A-2002-4CB7-A1B3-46BE2189E5A0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E21F4C-FE1E-4CB8-9B96-CC1EC83DB58C}"/>
              </a:ext>
            </a:extLst>
          </p:cNvPr>
          <p:cNvSpPr/>
          <p:nvPr/>
        </p:nvSpPr>
        <p:spPr>
          <a:xfrm>
            <a:off x="336000" y="328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F98FFBA-87CB-48C1-8C39-9CBA35576D62}"/>
              </a:ext>
            </a:extLst>
          </p:cNvPr>
          <p:cNvSpPr/>
          <p:nvPr/>
        </p:nvSpPr>
        <p:spPr>
          <a:xfrm>
            <a:off x="336000" y="378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B7C7D-550B-4662-8D22-FAA1DAC46155}"/>
              </a:ext>
            </a:extLst>
          </p:cNvPr>
          <p:cNvSpPr/>
          <p:nvPr/>
        </p:nvSpPr>
        <p:spPr>
          <a:xfrm>
            <a:off x="336000" y="465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60C8D43-A3C2-4015-877F-483B21D34DF1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011C737C-243B-6B4B-B6A0-3D28B22868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51B66AB-201B-E94B-8F7F-6B889968202C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12 Statements.         Formatting: 6 Statements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1632000" y="4941000"/>
            <a:ext cx="8424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.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won multiple election terms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16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9 Statements.         Party-specific coloring: 7 Statements.</a:t>
            </a:r>
            <a:endParaRPr lang="en-US" b="1" dirty="0"/>
          </a:p>
        </p:txBody>
      </p:sp>
      <p:cxnSp>
        <p:nvCxnSpPr>
          <p:cNvPr id="19" name="Gerade Verbindung mit Pfeil 55">
            <a:extLst>
              <a:ext uri="{FF2B5EF4-FFF2-40B4-BE49-F238E27FC236}">
                <a16:creationId xmlns:a16="http://schemas.microsoft.com/office/drawing/2014/main" id="{2F7FDB7B-0D1D-46F0-AC62-0871667C1246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48">
            <a:extLst>
              <a:ext uri="{FF2B5EF4-FFF2-40B4-BE49-F238E27FC236}">
                <a16:creationId xmlns:a16="http://schemas.microsoft.com/office/drawing/2014/main" id="{1C77A20A-C724-40BC-97D6-452E6928263E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3" name="Rechteck 49">
            <a:extLst>
              <a:ext uri="{FF2B5EF4-FFF2-40B4-BE49-F238E27FC236}">
                <a16:creationId xmlns:a16="http://schemas.microsoft.com/office/drawing/2014/main" id="{A8BD236B-C657-4AEF-BE4D-937D26248704}"/>
              </a:ext>
            </a:extLst>
          </p:cNvPr>
          <p:cNvSpPr/>
          <p:nvPr/>
        </p:nvSpPr>
        <p:spPr>
          <a:xfrm>
            <a:off x="552000" y="3141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5" name="Rechteck 58">
            <a:extLst>
              <a:ext uri="{FF2B5EF4-FFF2-40B4-BE49-F238E27FC236}">
                <a16:creationId xmlns:a16="http://schemas.microsoft.com/office/drawing/2014/main" id="{DBB0EFEE-2EC5-4CE5-B6E8-17DBE1043800}"/>
              </a:ext>
            </a:extLst>
          </p:cNvPr>
          <p:cNvSpPr/>
          <p:nvPr/>
        </p:nvSpPr>
        <p:spPr>
          <a:xfrm>
            <a:off x="552000" y="2421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6" name="Rechteck 65">
            <a:extLst>
              <a:ext uri="{FF2B5EF4-FFF2-40B4-BE49-F238E27FC236}">
                <a16:creationId xmlns:a16="http://schemas.microsoft.com/office/drawing/2014/main" id="{08001D0D-F266-4B99-A04D-E2E2B1D9A822}"/>
              </a:ext>
            </a:extLst>
          </p:cNvPr>
          <p:cNvSpPr/>
          <p:nvPr/>
        </p:nvSpPr>
        <p:spPr>
          <a:xfrm>
            <a:off x="552000" y="4293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8" name="Rechteck 74">
            <a:extLst>
              <a:ext uri="{FF2B5EF4-FFF2-40B4-BE49-F238E27FC236}">
                <a16:creationId xmlns:a16="http://schemas.microsoft.com/office/drawing/2014/main" id="{DDB8503B-E39D-4EAF-80F1-B434E100757D}"/>
              </a:ext>
            </a:extLst>
          </p:cNvPr>
          <p:cNvSpPr/>
          <p:nvPr/>
        </p:nvSpPr>
        <p:spPr>
          <a:xfrm>
            <a:off x="552000" y="494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9" name="Rechteck 51">
            <a:extLst>
              <a:ext uri="{FF2B5EF4-FFF2-40B4-BE49-F238E27FC236}">
                <a16:creationId xmlns:a16="http://schemas.microsoft.com/office/drawing/2014/main" id="{DAE5957E-556F-49DD-BEFD-710A79F35AEB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5051945-687F-45B1-9427-79F6DB9B99B1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600CD9-CDD7-4C9E-A260-578748846240}"/>
              </a:ext>
            </a:extLst>
          </p:cNvPr>
          <p:cNvSpPr/>
          <p:nvPr/>
        </p:nvSpPr>
        <p:spPr>
          <a:xfrm>
            <a:off x="336000" y="24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E1D42F-482A-4C0C-A056-8FA46399250C}"/>
              </a:ext>
            </a:extLst>
          </p:cNvPr>
          <p:cNvSpPr/>
          <p:nvPr/>
        </p:nvSpPr>
        <p:spPr>
          <a:xfrm>
            <a:off x="336000" y="31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94CDA95-840B-43D4-AC1E-89D48AA55F69}"/>
              </a:ext>
            </a:extLst>
          </p:cNvPr>
          <p:cNvSpPr/>
          <p:nvPr/>
        </p:nvSpPr>
        <p:spPr>
          <a:xfrm>
            <a:off x="336000" y="429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EBCA24F-2679-4BBE-8DB2-CB1E61C8494D}"/>
              </a:ext>
            </a:extLst>
          </p:cNvPr>
          <p:cNvSpPr/>
          <p:nvPr/>
        </p:nvSpPr>
        <p:spPr>
          <a:xfrm>
            <a:off x="336000" y="49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70396C-0FCE-4CC5-90F4-36BA13EB6D09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EA59FD8-63F4-4427-939B-2833778ECEFB}"/>
              </a:ext>
            </a:extLst>
          </p:cNvPr>
          <p:cNvSpPr txBox="1"/>
          <p:nvPr/>
        </p:nvSpPr>
        <p:spPr>
          <a:xfrm>
            <a:off x="1632000" y="1701056"/>
            <a:ext cx="9647999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trip all footnote references and new lines in the fields, and the last table row with footnotes insid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 ) -1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-1 = Last Row (negative indexing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place al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[.]), { '[?]', new line, '- '}, {'','','-' }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move the blank column originally containing portraits and put president name into all rows</a:t>
            </a: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ortrai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cy (1)", "Party (1)"}, {Period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	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{ Party Name, 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{ Party Name,		Colors }, { Democratic,  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}, { Republican, imperial red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Federalist,  	coral  }, { Whig,         yellow  }, { "Democratic-Republican", 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National Union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}, { Unaffiliated, gray 15 } 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								                   fill color, [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1ECED126-0CB4-9143-B5A3-B024619D4638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 err="1">
                <a:solidFill>
                  <a:srgbClr val="3264C8"/>
                </a:solidFill>
              </a:rPr>
              <a:t>B4P</a:t>
            </a:r>
            <a:r>
              <a:rPr lang="en-US" dirty="0">
                <a:solidFill>
                  <a:srgbClr val="3264C8"/>
                </a:solidFill>
              </a:rPr>
              <a:t>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845000"/>
            <a:ext cx="11232000" cy="2664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Real-World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Use</a:t>
            </a:r>
            <a:r>
              <a:rPr lang="de-CH" sz="5400" dirty="0">
                <a:solidFill>
                  <a:srgbClr val="3264C8"/>
                </a:solidFill>
              </a:rPr>
              <a:t> Cases</a:t>
            </a:r>
          </a:p>
        </p:txBody>
      </p:sp>
    </p:spTree>
    <p:extLst>
      <p:ext uri="{BB962C8B-B14F-4D97-AF65-F5344CB8AC3E}">
        <p14:creationId xmlns:p14="http://schemas.microsoft.com/office/powerpoint/2010/main" val="13657432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1187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 B4P Data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Overview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992000" y="1411722"/>
            <a:ext cx="194175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56875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347003" y="1390175"/>
            <a:ext cx="3116997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600" dirty="0">
                <a:latin typeface="+mj-lt"/>
              </a:rPr>
              <a:t>B4P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584762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800762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016762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232762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584762"/>
            <a:ext cx="326467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 dirty="0"/>
              <a:t>Excel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800762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016762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232762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1992000" y="5517000"/>
            <a:ext cx="7516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686983"/>
            <a:ext cx="1640345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  <a:p>
            <a:r>
              <a:rPr lang="en-US" dirty="0"/>
              <a:t>and Format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1639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316995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Flussdiagramm: Dokument 102">
            <a:extLst>
              <a:ext uri="{FF2B5EF4-FFF2-40B4-BE49-F238E27FC236}">
                <a16:creationId xmlns:a16="http://schemas.microsoft.com/office/drawing/2014/main" id="{CA034B1A-61A6-40A2-A13A-F784947822AE}"/>
              </a:ext>
            </a:extLst>
          </p:cNvPr>
          <p:cNvSpPr/>
          <p:nvPr/>
        </p:nvSpPr>
        <p:spPr>
          <a:xfrm>
            <a:off x="4440000" y="2924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4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er and Acquisition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696000" y="2132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5" name="Flussdiagramm: Dokument 94">
            <a:extLst>
              <a:ext uri="{FF2B5EF4-FFF2-40B4-BE49-F238E27FC236}">
                <a16:creationId xmlns:a16="http://schemas.microsoft.com/office/drawing/2014/main" id="{13A58FF8-E809-49A3-8399-E06B75341DED}"/>
              </a:ext>
            </a:extLst>
          </p:cNvPr>
          <p:cNvSpPr/>
          <p:nvPr/>
        </p:nvSpPr>
        <p:spPr>
          <a:xfrm>
            <a:off x="2424000" y="2132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98" name="Flussdiagramm: Dokument 97">
            <a:extLst>
              <a:ext uri="{FF2B5EF4-FFF2-40B4-BE49-F238E27FC236}">
                <a16:creationId xmlns:a16="http://schemas.microsoft.com/office/drawing/2014/main" id="{9C9E274D-FE9A-43C3-95FE-D2B5975ECDEB}"/>
              </a:ext>
            </a:extLst>
          </p:cNvPr>
          <p:cNvSpPr/>
          <p:nvPr/>
        </p:nvSpPr>
        <p:spPr>
          <a:xfrm>
            <a:off x="9767824" y="2132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100" name="Flussdiagramm: Dokument 99">
            <a:extLst>
              <a:ext uri="{FF2B5EF4-FFF2-40B4-BE49-F238E27FC236}">
                <a16:creationId xmlns:a16="http://schemas.microsoft.com/office/drawing/2014/main" id="{E440C831-87EC-4F50-A50C-2D09AEB1668A}"/>
              </a:ext>
            </a:extLst>
          </p:cNvPr>
          <p:cNvSpPr/>
          <p:nvPr/>
        </p:nvSpPr>
        <p:spPr>
          <a:xfrm>
            <a:off x="8040000" y="2132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1" name="Flussdiagramm: Dokument 100">
            <a:extLst>
              <a:ext uri="{FF2B5EF4-FFF2-40B4-BE49-F238E27FC236}">
                <a16:creationId xmlns:a16="http://schemas.microsoft.com/office/drawing/2014/main" id="{F1B6B876-671A-4DD4-9AC9-4316845833A0}"/>
              </a:ext>
            </a:extLst>
          </p:cNvPr>
          <p:cNvSpPr/>
          <p:nvPr/>
        </p:nvSpPr>
        <p:spPr>
          <a:xfrm>
            <a:off x="4296000" y="3068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hee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2" name="Flussdiagramm: Zentralspeicher 101">
            <a:extLst>
              <a:ext uri="{FF2B5EF4-FFF2-40B4-BE49-F238E27FC236}">
                <a16:creationId xmlns:a16="http://schemas.microsoft.com/office/drawing/2014/main" id="{8EEDDA7A-3C23-40C0-BE90-ABA55EB7BCF0}"/>
              </a:ext>
            </a:extLst>
          </p:cNvPr>
          <p:cNvSpPr/>
          <p:nvPr/>
        </p:nvSpPr>
        <p:spPr>
          <a:xfrm>
            <a:off x="5376664" y="314091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5" name="Flussdiagramm: Dokument 104">
            <a:extLst>
              <a:ext uri="{FF2B5EF4-FFF2-40B4-BE49-F238E27FC236}">
                <a16:creationId xmlns:a16="http://schemas.microsoft.com/office/drawing/2014/main" id="{4F940C67-0C29-4F41-8CC9-3981C1BB371F}"/>
              </a:ext>
            </a:extLst>
          </p:cNvPr>
          <p:cNvSpPr/>
          <p:nvPr/>
        </p:nvSpPr>
        <p:spPr>
          <a:xfrm>
            <a:off x="6239824" y="3068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iag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ul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6" name="Flussdiagramm: Zentralspeicher 105">
            <a:extLst>
              <a:ext uri="{FF2B5EF4-FFF2-40B4-BE49-F238E27FC236}">
                <a16:creationId xmlns:a16="http://schemas.microsoft.com/office/drawing/2014/main" id="{F4D9FBC0-AA1B-4FA1-8BF2-EF237CBF468C}"/>
              </a:ext>
            </a:extLst>
          </p:cNvPr>
          <p:cNvSpPr/>
          <p:nvPr/>
        </p:nvSpPr>
        <p:spPr>
          <a:xfrm>
            <a:off x="7320488" y="314091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ounded Rectangle 3">
            <a:extLst>
              <a:ext uri="{FF2B5EF4-FFF2-40B4-BE49-F238E27FC236}">
                <a16:creationId xmlns:a16="http://schemas.microsoft.com/office/drawing/2014/main" id="{D40D26F2-AA8A-4459-ABCE-E37A65F3164A}"/>
              </a:ext>
            </a:extLst>
          </p:cNvPr>
          <p:cNvSpPr/>
          <p:nvPr/>
        </p:nvSpPr>
        <p:spPr>
          <a:xfrm>
            <a:off x="696000" y="4077000"/>
            <a:ext cx="10656000" cy="720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108" name="B4P">
            <a:extLst>
              <a:ext uri="{FF2B5EF4-FFF2-40B4-BE49-F238E27FC236}">
                <a16:creationId xmlns:a16="http://schemas.microsoft.com/office/drawing/2014/main" id="{0C909434-86DA-4E59-9466-23F864867562}"/>
              </a:ext>
            </a:extLst>
          </p:cNvPr>
          <p:cNvSpPr txBox="1"/>
          <p:nvPr/>
        </p:nvSpPr>
        <p:spPr>
          <a:xfrm>
            <a:off x="5573757" y="4234715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D4BB2405-6CFB-4039-9FB2-D720D21BA112}"/>
              </a:ext>
            </a:extLst>
          </p:cNvPr>
          <p:cNvCxnSpPr>
            <a:cxnSpLocks/>
            <a:stCxn id="101" idx="2"/>
          </p:cNvCxnSpPr>
          <p:nvPr/>
        </p:nvCxnSpPr>
        <p:spPr>
          <a:xfrm>
            <a:off x="5088088" y="3606595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F17FBB31-B75B-4B91-8C6F-1FA5256C8DB5}"/>
              </a:ext>
            </a:extLst>
          </p:cNvPr>
          <p:cNvCxnSpPr>
            <a:cxnSpLocks/>
            <a:stCxn id="105" idx="2"/>
          </p:cNvCxnSpPr>
          <p:nvPr/>
        </p:nvCxnSpPr>
        <p:spPr>
          <a:xfrm>
            <a:off x="7031912" y="3606595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E380BD29-9A04-4CC4-9741-BA9D12E62682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1488088" y="2670595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15FE5FA-7659-4828-9BA2-AA85BD51095B}"/>
              </a:ext>
            </a:extLst>
          </p:cNvPr>
          <p:cNvCxnSpPr>
            <a:cxnSpLocks/>
            <a:stCxn id="95" idx="2"/>
          </p:cNvCxnSpPr>
          <p:nvPr/>
        </p:nvCxnSpPr>
        <p:spPr>
          <a:xfrm>
            <a:off x="3216088" y="2670595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B33344A8-A68B-416E-B257-20B12514D838}"/>
              </a:ext>
            </a:extLst>
          </p:cNvPr>
          <p:cNvCxnSpPr>
            <a:cxnSpLocks/>
            <a:stCxn id="100" idx="2"/>
          </p:cNvCxnSpPr>
          <p:nvPr/>
        </p:nvCxnSpPr>
        <p:spPr>
          <a:xfrm>
            <a:off x="8832088" y="2670595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0BF1DB8B-618A-4B5A-A23E-E8D099A8F51D}"/>
              </a:ext>
            </a:extLst>
          </p:cNvPr>
          <p:cNvCxnSpPr>
            <a:cxnSpLocks/>
            <a:stCxn id="98" idx="2"/>
          </p:cNvCxnSpPr>
          <p:nvPr/>
        </p:nvCxnSpPr>
        <p:spPr>
          <a:xfrm>
            <a:off x="10559912" y="2670595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Flussdiagramm: Dokument 119">
            <a:extLst>
              <a:ext uri="{FF2B5EF4-FFF2-40B4-BE49-F238E27FC236}">
                <a16:creationId xmlns:a16="http://schemas.microsoft.com/office/drawing/2014/main" id="{2909C537-0592-43B4-8E2E-8DA389143755}"/>
              </a:ext>
            </a:extLst>
          </p:cNvPr>
          <p:cNvSpPr/>
          <p:nvPr/>
        </p:nvSpPr>
        <p:spPr>
          <a:xfrm>
            <a:off x="3359824" y="5373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CRM Reports</a:t>
            </a:r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4E1A9DD5-A269-4AF5-BCAC-46705DB9C568}"/>
              </a:ext>
            </a:extLst>
          </p:cNvPr>
          <p:cNvSpPr/>
          <p:nvPr/>
        </p:nvSpPr>
        <p:spPr>
          <a:xfrm>
            <a:off x="5231824" y="5373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jects</a:t>
            </a:r>
          </a:p>
        </p:txBody>
      </p:sp>
      <p:sp>
        <p:nvSpPr>
          <p:cNvPr id="122" name="Flussdiagramm: Dokument 121">
            <a:extLst>
              <a:ext uri="{FF2B5EF4-FFF2-40B4-BE49-F238E27FC236}">
                <a16:creationId xmlns:a16="http://schemas.microsoft.com/office/drawing/2014/main" id="{F9D302ED-460E-4939-A43F-57BC52502EF5}"/>
              </a:ext>
            </a:extLst>
          </p:cNvPr>
          <p:cNvSpPr/>
          <p:nvPr/>
        </p:nvSpPr>
        <p:spPr>
          <a:xfrm>
            <a:off x="7103648" y="537316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ortfolio</a:t>
            </a:r>
          </a:p>
        </p:txBody>
      </p:sp>
      <p:sp>
        <p:nvSpPr>
          <p:cNvPr id="123" name="Flussdiagramm: Dokument 122">
            <a:extLst>
              <a:ext uri="{FF2B5EF4-FFF2-40B4-BE49-F238E27FC236}">
                <a16:creationId xmlns:a16="http://schemas.microsoft.com/office/drawing/2014/main" id="{4123D8A9-6358-41CF-9D00-81881D2A6F6F}"/>
              </a:ext>
            </a:extLst>
          </p:cNvPr>
          <p:cNvSpPr/>
          <p:nvPr/>
        </p:nvSpPr>
        <p:spPr>
          <a:xfrm>
            <a:off x="8976000" y="53733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verlaps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Duplications</a:t>
            </a:r>
          </a:p>
        </p:txBody>
      </p: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D9B6E76C-2356-4FC2-9469-534864F83BDA}"/>
              </a:ext>
            </a:extLst>
          </p:cNvPr>
          <p:cNvCxnSpPr>
            <a:cxnSpLocks/>
            <a:endCxn id="120" idx="0"/>
          </p:cNvCxnSpPr>
          <p:nvPr/>
        </p:nvCxnSpPr>
        <p:spPr>
          <a:xfrm>
            <a:off x="4151912" y="4797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0ED3B875-B882-413A-AB1C-48B859EFF913}"/>
              </a:ext>
            </a:extLst>
          </p:cNvPr>
          <p:cNvCxnSpPr>
            <a:cxnSpLocks/>
          </p:cNvCxnSpPr>
          <p:nvPr/>
        </p:nvCxnSpPr>
        <p:spPr>
          <a:xfrm>
            <a:off x="6024000" y="4797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F66C799D-175F-4B2B-A060-990334084885}"/>
              </a:ext>
            </a:extLst>
          </p:cNvPr>
          <p:cNvCxnSpPr>
            <a:cxnSpLocks/>
          </p:cNvCxnSpPr>
          <p:nvPr/>
        </p:nvCxnSpPr>
        <p:spPr>
          <a:xfrm>
            <a:off x="7896088" y="4797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E2F55B90-7F68-4DEC-AB80-68364415FB14}"/>
              </a:ext>
            </a:extLst>
          </p:cNvPr>
          <p:cNvCxnSpPr>
            <a:cxnSpLocks/>
          </p:cNvCxnSpPr>
          <p:nvPr/>
        </p:nvCxnSpPr>
        <p:spPr>
          <a:xfrm>
            <a:off x="9768000" y="4797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EB9701-124F-4C9B-A0CC-836507F07C19}"/>
              </a:ext>
            </a:extLst>
          </p:cNvPr>
          <p:cNvSpPr/>
          <p:nvPr/>
        </p:nvSpPr>
        <p:spPr>
          <a:xfrm>
            <a:off x="696000" y="1701000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1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3622DEBD-00A2-45E7-AA02-0E104CAAE990}"/>
              </a:ext>
            </a:extLst>
          </p:cNvPr>
          <p:cNvSpPr/>
          <p:nvPr/>
        </p:nvSpPr>
        <p:spPr>
          <a:xfrm>
            <a:off x="8040000" y="1701000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2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F04830D-CCCE-4FE5-B673-4CCDDBCF07EF}"/>
              </a:ext>
            </a:extLst>
          </p:cNvPr>
          <p:cNvSpPr/>
          <p:nvPr/>
        </p:nvSpPr>
        <p:spPr>
          <a:xfrm>
            <a:off x="4224000" y="1701000"/>
            <a:ext cx="36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erging + Alignment Guidelines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BB394779-3D84-4163-AF58-0E05ACFC0DCA}"/>
              </a:ext>
            </a:extLst>
          </p:cNvPr>
          <p:cNvSpPr/>
          <p:nvPr/>
        </p:nvSpPr>
        <p:spPr>
          <a:xfrm>
            <a:off x="6240000" y="2493000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ies and resolve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uplica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041FC569-E73B-4965-91B1-8D6CB70EB520}"/>
              </a:ext>
            </a:extLst>
          </p:cNvPr>
          <p:cNvSpPr/>
          <p:nvPr/>
        </p:nvSpPr>
        <p:spPr>
          <a:xfrm>
            <a:off x="4440000" y="2493000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apt data to fit into a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mon baseline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B5CA2C5A-B63D-4A4F-8DE0-BDB0E99FFB2B}"/>
              </a:ext>
            </a:extLst>
          </p:cNvPr>
          <p:cNvSpPr/>
          <p:nvPr/>
        </p:nvSpPr>
        <p:spPr>
          <a:xfrm>
            <a:off x="696000" y="981000"/>
            <a:ext cx="10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uring the business integration, the two organization, even their individual sites will continue using their information repositories for a certain time until the business integration process has been finalized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5" name="Flussdiagramm: Dokument 134">
            <a:extLst>
              <a:ext uri="{FF2B5EF4-FFF2-40B4-BE49-F238E27FC236}">
                <a16:creationId xmlns:a16="http://schemas.microsoft.com/office/drawing/2014/main" id="{87526E51-4532-4CC5-9737-4C8674D54649}"/>
              </a:ext>
            </a:extLst>
          </p:cNvPr>
          <p:cNvSpPr/>
          <p:nvPr/>
        </p:nvSpPr>
        <p:spPr>
          <a:xfrm>
            <a:off x="1488000" y="5373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utlooks</a:t>
            </a: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558E1944-74F7-42F9-9E95-180CE639B324}"/>
              </a:ext>
            </a:extLst>
          </p:cNvPr>
          <p:cNvCxnSpPr>
            <a:cxnSpLocks/>
            <a:endCxn id="135" idx="0"/>
          </p:cNvCxnSpPr>
          <p:nvPr/>
        </p:nvCxnSpPr>
        <p:spPr>
          <a:xfrm>
            <a:off x="2280088" y="4797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20050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5-30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6223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00000" y="1220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00000" y="1868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Data Integration and Analytics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00000" y="37589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00000" y="25298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00000" y="31915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3264C8"/>
                </a:solidFill>
              </a:rPr>
              <a:t>Table of Contents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trategic and Operational Use Cases – Some Examp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hteck 48">
            <a:extLst>
              <a:ext uri="{FF2B5EF4-FFF2-40B4-BE49-F238E27FC236}">
                <a16:creationId xmlns:a16="http://schemas.microsoft.com/office/drawing/2014/main" id="{274F6374-B3E9-4466-9F7B-361C9163D8CE}"/>
              </a:ext>
            </a:extLst>
          </p:cNvPr>
          <p:cNvSpPr/>
          <p:nvPr/>
        </p:nvSpPr>
        <p:spPr>
          <a:xfrm>
            <a:off x="480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ategic Use Cases</a:t>
            </a:r>
          </a:p>
        </p:txBody>
      </p:sp>
      <p:sp>
        <p:nvSpPr>
          <p:cNvPr id="14" name="Rechteck 48">
            <a:extLst>
              <a:ext uri="{FF2B5EF4-FFF2-40B4-BE49-F238E27FC236}">
                <a16:creationId xmlns:a16="http://schemas.microsoft.com/office/drawing/2014/main" id="{A66868E2-149C-4AD0-ABB6-085A8C282DD4}"/>
              </a:ext>
            </a:extLst>
          </p:cNvPr>
          <p:cNvSpPr/>
          <p:nvPr/>
        </p:nvSpPr>
        <p:spPr>
          <a:xfrm>
            <a:off x="6168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erational (Everyday Life) Use Case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8866331-F030-432E-966A-EC75BF5DC707}"/>
              </a:ext>
            </a:extLst>
          </p:cNvPr>
          <p:cNvSpPr/>
          <p:nvPr/>
        </p:nvSpPr>
        <p:spPr>
          <a:xfrm>
            <a:off x="480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usiness and Market Analytic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ing big data collected from (empirical) market assessments to derive market trends, value-adding conclusions and outlook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owerful analysis of financial and market data for your investment decision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ergers and Acquisi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ing joint information analysis from both parties which (still) maintain two different databases and ways of working, ready for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wift generation of new data structures and database based on multiple legacy databases helpful for the business integration proces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Dat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ract the most essential information from raw big data collection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 Integrity Verificatio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financial, logistics, operational and CRM data for integrity and validity.  Generate lists of suspected shortcomings and correct them. 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ngineering and Technical Applica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simulation results and identify information patterns of interes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commonalities of multiple bills of material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utomatic documentation compilation and staging of software project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xample: Complete 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online documentation created with 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DDA4C17-8297-4D4B-B5DE-FD46365A65FA}"/>
              </a:ext>
            </a:extLst>
          </p:cNvPr>
          <p:cNvSpPr/>
          <p:nvPr/>
        </p:nvSpPr>
        <p:spPr>
          <a:xfrm>
            <a:off x="6168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fficient Report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llect and condense large base data in order to extract essential information required for periodic reporting and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alidation: Compare the data with rules, best practice patterns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dentify all potential deviations and help to explain abnormalities effectively towards senior managemen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lement or enrich the data with supporting inform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e the data in a form so using Excel is the final step to do the creativity work, e.g. making convincing chart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epeating Procedure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ve significant working time by automating repeating work patterns where Excel is used to collect, compile and analyze data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enefit: Saving time and making significantly less mistake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and Track Key Performance Indicators (</a:t>
            </a:r>
            <a:r>
              <a:rPr lang="en-US" sz="1200" b="1" dirty="0" err="1">
                <a:solidFill>
                  <a:schemeClr val="tx1"/>
                </a:solidFill>
              </a:rPr>
              <a:t>KPI</a:t>
            </a:r>
            <a:r>
              <a:rPr lang="en-US" sz="1200" b="1" dirty="0">
                <a:solidFill>
                  <a:schemeClr val="tx1"/>
                </a:solidFill>
              </a:rPr>
              <a:t>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ather data from different sources, validate and provide updated </a:t>
            </a:r>
            <a:r>
              <a:rPr lang="en-US" sz="1200" dirty="0" err="1">
                <a:solidFill>
                  <a:schemeClr val="tx1"/>
                </a:solidFill>
              </a:rPr>
              <a:t>KPI'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root causes of possible abnormalities (e.g. discontinuities)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everage Information Awarenes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 information environment where you are alerted in an early phase in case of any abnormalities or changes of particular interest.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6459C2E-5401-4E44-B610-842D1FDE033C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Reliable data analytics available and drawing the right conclusions puts your business into an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advantageous position, ahead of the competition.</a:t>
            </a:r>
          </a:p>
        </p:txBody>
      </p:sp>
    </p:spTree>
    <p:extLst>
      <p:ext uri="{BB962C8B-B14F-4D97-AF65-F5344CB8AC3E}">
        <p14:creationId xmlns:p14="http://schemas.microsoft.com/office/powerpoint/2010/main" val="42785291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840000" y="1269000"/>
            <a:ext cx="2160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840000" y="2781000"/>
            <a:ext cx="2160000" cy="165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SAS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840000" y="4725000"/>
            <a:ext cx="2160000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3144000" y="5877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3144000" y="4149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Resulting code cannot be understood, shared, managed,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3144000" y="2205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3144000" y="1341000"/>
            <a:ext cx="7920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3144000" y="2781000"/>
            <a:ext cx="784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skills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3144000" y="4797000"/>
            <a:ext cx="7344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end up depending on them, and you need to repeatedly convince your boss that the updates are worth the money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urrent methods of analytics automation are complex, expensive, and opaqu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43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543310"/>
            <a:ext cx="9432000" cy="2703555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ow-Code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olution Overview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072000" y="1341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8821" y="203079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32291" y="5874099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269518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261899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2619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179213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26189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251213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25843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y files to import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ftware that data i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736301"/>
            <a:ext cx="667889" cy="788699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70987" y="1431154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268" y="507824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1776025" y="2517143"/>
            <a:ext cx="8444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2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57476" y="2545781"/>
            <a:ext cx="446524" cy="523219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14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9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448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600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752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90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05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06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319276" y="4581000"/>
            <a:ext cx="5133762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: </a:t>
            </a:r>
            <a:r>
              <a:rPr lang="en-US" sz="1200" dirty="0">
                <a:solidFill>
                  <a:schemeClr val="tx1"/>
                </a:solidFill>
              </a:rPr>
              <a:t> Over 800 powerful functions built-in, with easy extensibility for new func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 eliminates need for complex code, loops, or other administrative overhead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264000" y="4581000"/>
            <a:ext cx="5184000" cy="20409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Fast</a:t>
            </a:r>
            <a:r>
              <a:rPr lang="en-US" sz="1100" dirty="0">
                <a:solidFill>
                  <a:schemeClr val="tx1"/>
                </a:solidFill>
              </a:rPr>
              <a:t>:  Compiled and runs ‘on the metal’ to the peak performance of the very latest 8-core and 12-core processors from Intel and Apple (M1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Light weight</a:t>
            </a:r>
            <a:r>
              <a:rPr lang="en-US" sz="1100" dirty="0">
                <a:solidFill>
                  <a:schemeClr val="tx1"/>
                </a:solidFill>
              </a:rPr>
              <a:t>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Secure. </a:t>
            </a:r>
            <a:r>
              <a:rPr lang="en-US" sz="1100" dirty="0">
                <a:solidFill>
                  <a:schemeClr val="tx1"/>
                </a:solidFill>
              </a:rPr>
              <a:t>No connection to any ‘cloud service’. Runs 100% on standalone personal computer fully isolated within the corporate network, thus allowing safe use on highly confidential corporate and financial information.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 Reliability. </a:t>
            </a:r>
            <a:r>
              <a:rPr lang="en-US" sz="1100" dirty="0">
                <a:solidFill>
                  <a:schemeClr val="tx1"/>
                </a:solidFill>
              </a:rPr>
              <a:t>No Dependencies.  Once installed there is no means for software to ‘break’ as it has no dependencie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Many data formats supported 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(Excel, HTML, XML, JSON, text files, etc., full UNICOD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1775800" y="1197000"/>
            <a:ext cx="21604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554157" y="1197000"/>
            <a:ext cx="2664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176" y="2493000"/>
            <a:ext cx="1842625" cy="192439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389FFD4-F702-FD4B-9D76-71BC8C3A1E4F}"/>
              </a:ext>
            </a:extLst>
          </p:cNvPr>
          <p:cNvSpPr/>
          <p:nvPr/>
        </p:nvSpPr>
        <p:spPr>
          <a:xfrm>
            <a:off x="6168000" y="1773000"/>
            <a:ext cx="5453793" cy="461665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designed specifically for tabular data, and has over 800 functions built in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4C65F95-C9B1-8543-971E-07350D898C01}"/>
              </a:ext>
            </a:extLst>
          </p:cNvPr>
          <p:cNvSpPr/>
          <p:nvPr/>
        </p:nvSpPr>
        <p:spPr>
          <a:xfrm>
            <a:off x="368510" y="1665866"/>
            <a:ext cx="4974979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Engine is designed for extreme performance managing Big Data – processing tens of millions of rows of data in seconds on commodity personal computers.</a:t>
            </a: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5D6C6728-43A3-6946-879B-78D1EAA425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521" y="3010997"/>
            <a:ext cx="5615272" cy="117640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49E86D-8A8F-A845-A934-C9218AD2B563}"/>
              </a:ext>
            </a:extLst>
          </p:cNvPr>
          <p:cNvCxnSpPr>
            <a:cxnSpLocks/>
          </p:cNvCxnSpPr>
          <p:nvPr/>
        </p:nvCxnSpPr>
        <p:spPr>
          <a:xfrm>
            <a:off x="5736000" y="837000"/>
            <a:ext cx="0" cy="60210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1">
            <a:extLst>
              <a:ext uri="{FF2B5EF4-FFF2-40B4-BE49-F238E27FC236}">
                <a16:creationId xmlns:a16="http://schemas.microsoft.com/office/drawing/2014/main" id="{EF14AEDB-83B4-7F4F-81B6-5FD152163C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ow-Code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ain Componen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A0945-3580-124C-97B5-638A3AF38F9A}"/>
              </a:ext>
            </a:extLst>
          </p:cNvPr>
          <p:cNvSpPr/>
          <p:nvPr/>
        </p:nvSpPr>
        <p:spPr>
          <a:xfrm>
            <a:off x="912000" y="1183287"/>
            <a:ext cx="5961073" cy="4045712"/>
          </a:xfrm>
          <a:prstGeom prst="rect">
            <a:avLst/>
          </a:prstGeom>
          <a:solidFill>
            <a:schemeClr val="bg1">
              <a:lumMod val="95000"/>
              <a:alpha val="57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596533" y="6072411"/>
            <a:ext cx="6377484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B4P is highest in both Code Performance and Code Efficiency, </a:t>
            </a:r>
          </a:p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providing complete solutions with less than 10-20 lines of code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860259" y="5229000"/>
            <a:ext cx="5976000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2012259" y="5229000"/>
            <a:ext cx="345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Efficienc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6116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788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853130" y="1237129"/>
            <a:ext cx="7129" cy="3991871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356259" y="5013000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336000" y="1183286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975741" y="3167858"/>
            <a:ext cx="29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Performanc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711098" y="4169605"/>
            <a:ext cx="1343031" cy="875594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1142729" y="1485000"/>
            <a:ext cx="929590" cy="98262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627640" y="1466783"/>
            <a:ext cx="936719" cy="1026217"/>
          </a:xfrm>
          <a:prstGeom prst="roundRect">
            <a:avLst/>
          </a:prstGeom>
          <a:solidFill>
            <a:srgbClr val="3264C8">
              <a:alpha val="80907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 err="1">
                <a:solidFill>
                  <a:schemeClr val="bg1"/>
                </a:solidFill>
              </a:rPr>
              <a:t>B4P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993799" y="2394956"/>
            <a:ext cx="1098158" cy="880907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with Pandas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F0E82B-00C3-4E22-8015-5573E0089707}"/>
              </a:ext>
            </a:extLst>
          </p:cNvPr>
          <p:cNvSpPr/>
          <p:nvPr/>
        </p:nvSpPr>
        <p:spPr>
          <a:xfrm>
            <a:off x="7389739" y="2088735"/>
            <a:ext cx="4320000" cy="436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erformance Big Data Process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2850A0"/>
                </a:solidFill>
              </a:rPr>
              <a:t>Code performance</a:t>
            </a:r>
            <a:r>
              <a:rPr lang="en-US" sz="1200" dirty="0">
                <a:solidFill>
                  <a:schemeClr val="tx1"/>
                </a:solidFill>
              </a:rPr>
              <a:t>: Processing very large tables and variables is B4P’s core functional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2850A0"/>
                </a:solidFill>
              </a:rPr>
              <a:t>Code efficiency</a:t>
            </a:r>
            <a:r>
              <a:rPr lang="en-US" sz="1200" dirty="0">
                <a:solidFill>
                  <a:schemeClr val="tx1"/>
                </a:solidFill>
              </a:rPr>
              <a:t>: Single statements replace need for 10-50 lines of code in other language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: Delivers solution with minimal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ximum functionality with fewest lines of code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ssign variable and table names as you wish, including spaces and special characters, directly and indirect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ynamically build up variable structures and reshape them when needed.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ptimized for Simplicity of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 library and semantics allow for flexible and powerful operations without loops an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ample: </a:t>
            </a:r>
            <a:r>
              <a:rPr lang="en-US" sz="1200" b="1" dirty="0">
                <a:solidFill>
                  <a:srgbClr val="2850A0"/>
                </a:solidFill>
              </a:rPr>
              <a:t>table process </a:t>
            </a:r>
            <a:r>
              <a:rPr lang="en-US" sz="1200" dirty="0">
                <a:solidFill>
                  <a:schemeClr val="tx1"/>
                </a:solidFill>
              </a:rPr>
              <a:t>( ... )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grams are Portable across all Platfor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program are fully portable, sharable, and executable across all operating systems (Windows, Linux, MacOS) and all computer architecture (Intel x32, x64; ARM M1), assuring maximum re-use across the enterprise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6EA1FBC-81E3-4C24-9B75-EC3F966799BB}"/>
              </a:ext>
            </a:extLst>
          </p:cNvPr>
          <p:cNvSpPr/>
          <p:nvPr/>
        </p:nvSpPr>
        <p:spPr>
          <a:xfrm>
            <a:off x="2568000" y="5454143"/>
            <a:ext cx="23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develop and deploy solution)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42A323-C031-4448-81AE-BBABB743B0D1}"/>
              </a:ext>
            </a:extLst>
          </p:cNvPr>
          <p:cNvSpPr/>
          <p:nvPr/>
        </p:nvSpPr>
        <p:spPr>
          <a:xfrm rot="16200000">
            <a:off x="315490" y="310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run)</a:t>
            </a:r>
          </a:p>
        </p:txBody>
      </p:sp>
      <p:grpSp>
        <p:nvGrpSpPr>
          <p:cNvPr id="29" name="Gruppieren 10">
            <a:extLst>
              <a:ext uri="{FF2B5EF4-FFF2-40B4-BE49-F238E27FC236}">
                <a16:creationId xmlns:a16="http://schemas.microsoft.com/office/drawing/2014/main" id="{901A4561-5B3A-3142-B0EA-8BCFCCD7439B}"/>
              </a:ext>
            </a:extLst>
          </p:cNvPr>
          <p:cNvGrpSpPr/>
          <p:nvPr/>
        </p:nvGrpSpPr>
        <p:grpSpPr>
          <a:xfrm>
            <a:off x="6600000" y="1989000"/>
            <a:ext cx="406948" cy="515657"/>
            <a:chOff x="7789696" y="1644240"/>
            <a:chExt cx="431444" cy="576000"/>
          </a:xfrm>
        </p:grpSpPr>
        <p:sp>
          <p:nvSpPr>
            <p:cNvPr id="32" name="Ellipse 9">
              <a:extLst>
                <a:ext uri="{FF2B5EF4-FFF2-40B4-BE49-F238E27FC236}">
                  <a16:creationId xmlns:a16="http://schemas.microsoft.com/office/drawing/2014/main" id="{0C17A7C5-59E1-8246-9117-D209AAAEB0AB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33" name="Grafik 57">
              <a:extLst>
                <a:ext uri="{FF2B5EF4-FFF2-40B4-BE49-F238E27FC236}">
                  <a16:creationId xmlns:a16="http://schemas.microsoft.com/office/drawing/2014/main" id="{3C56EA6D-3488-9049-9983-325639B6A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4" name="Rechteck: abgerundete Ecken 25">
            <a:extLst>
              <a:ext uri="{FF2B5EF4-FFF2-40B4-BE49-F238E27FC236}">
                <a16:creationId xmlns:a16="http://schemas.microsoft.com/office/drawing/2014/main" id="{FACADB57-F160-E24A-8517-120F769550DC}"/>
              </a:ext>
            </a:extLst>
          </p:cNvPr>
          <p:cNvSpPr/>
          <p:nvPr/>
        </p:nvSpPr>
        <p:spPr>
          <a:xfrm>
            <a:off x="3158291" y="3031473"/>
            <a:ext cx="967838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</a:t>
            </a:r>
          </a:p>
        </p:txBody>
      </p:sp>
      <p:sp>
        <p:nvSpPr>
          <p:cNvPr id="35" name="Rechteck: abgerundete Ecken 25">
            <a:extLst>
              <a:ext uri="{FF2B5EF4-FFF2-40B4-BE49-F238E27FC236}">
                <a16:creationId xmlns:a16="http://schemas.microsoft.com/office/drawing/2014/main" id="{DBE1E884-1B58-9149-943F-3CB72DCC6489}"/>
              </a:ext>
            </a:extLst>
          </p:cNvPr>
          <p:cNvSpPr/>
          <p:nvPr/>
        </p:nvSpPr>
        <p:spPr>
          <a:xfrm>
            <a:off x="2402730" y="3438185"/>
            <a:ext cx="723686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A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8F3AD8-6514-374E-923C-8F625C760870}"/>
              </a:ext>
            </a:extLst>
          </p:cNvPr>
          <p:cNvSpPr/>
          <p:nvPr/>
        </p:nvSpPr>
        <p:spPr>
          <a:xfrm>
            <a:off x="7483373" y="1287628"/>
            <a:ext cx="4132732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for tabular data, and has over 800 functions built in.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CC6DCA11-DA0F-2C43-9EB1-CF7D0FC0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vides Highest Code Performance and Efficiency 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he B4P Language allows one solve complex problems with clear, simple, minimal code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 Focus on the </a:t>
            </a:r>
            <a:r>
              <a:rPr lang="en-US" sz="1600" b="1" i="1" dirty="0">
                <a:solidFill>
                  <a:schemeClr val="bg1"/>
                </a:solidFill>
              </a:rPr>
              <a:t>what</a:t>
            </a:r>
            <a:r>
              <a:rPr lang="en-US" sz="1600" b="1" dirty="0">
                <a:solidFill>
                  <a:schemeClr val="bg1"/>
                </a:solidFill>
              </a:rPr>
              <a:t>, not the </a:t>
            </a:r>
            <a:r>
              <a:rPr lang="en-US" sz="1600" b="1" i="1" dirty="0">
                <a:solidFill>
                  <a:schemeClr val="bg1"/>
                </a:solidFill>
              </a:rPr>
              <a:t>how</a:t>
            </a:r>
            <a:r>
              <a:rPr lang="en-US" sz="16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asy to read und understand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external libraries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ich Function Librar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functions process very large tables, sets, matrices and other structures.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dvanced flow control functions going far beyond </a:t>
            </a:r>
            <a:r>
              <a:rPr lang="en-US" sz="1200" i="1" dirty="0">
                <a:solidFill>
                  <a:schemeClr val="tx1"/>
                </a:solidFill>
              </a:rPr>
              <a:t>for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i="1" dirty="0">
                <a:solidFill>
                  <a:schemeClr val="tx1"/>
                </a:solidFill>
              </a:rPr>
              <a:t>while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i="1" dirty="0">
                <a:solidFill>
                  <a:schemeClr val="tx1"/>
                </a:solidFill>
              </a:rPr>
              <a:t>if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in Function Parameter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a rich library to create Excel and HTML files with rich formatting, </a:t>
            </a:r>
            <a:r>
              <a:rPr lang="en-US" sz="1200" dirty="0" err="1">
                <a:solidFill>
                  <a:schemeClr val="tx1"/>
                </a:solidFill>
              </a:rPr>
              <a:t>autofilters</a:t>
            </a:r>
            <a:r>
              <a:rPr lang="en-US" sz="1200" dirty="0">
                <a:solidFill>
                  <a:schemeClr val="tx1"/>
                </a:solidFill>
              </a:rPr>
              <a:t>, etc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reedom of Nam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ultiple word function nam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ross Platform Portabilit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programs run under Windows, LINUX and MacOS (incl. </a:t>
            </a:r>
            <a:r>
              <a:rPr lang="en-US" sz="1200" dirty="0" err="1">
                <a:solidFill>
                  <a:schemeClr val="tx1"/>
                </a:solidFill>
              </a:rPr>
              <a:t>M1</a:t>
            </a:r>
            <a:r>
              <a:rPr lang="en-US" sz="1200" dirty="0">
                <a:solidFill>
                  <a:schemeClr val="tx1"/>
                </a:solidFill>
              </a:rPr>
              <a:t>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Standard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UI intentionally not supported to preserve cross-platform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mbed 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n batch progra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8FEBDCF-208D-B947-94C3-53AF15BA4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anguage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Featur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5377</Words>
  <Application>Microsoft Office PowerPoint</Application>
  <PresentationFormat>Breitbild</PresentationFormat>
  <Paragraphs>839</Paragraphs>
  <Slides>2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3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 B4P Data Integration and Analytics Engine Overview</vt:lpstr>
      <vt:lpstr>Table of Contents</vt:lpstr>
      <vt:lpstr>Problem Statement Strategic and Operational Use Cases – Some Examples</vt:lpstr>
      <vt:lpstr>Problem Statement Current methods of analytics automation are complex, expensive, and opaque</vt:lpstr>
      <vt:lpstr>B4P Low-Code Integration and Analytics Engine Solution Overview</vt:lpstr>
      <vt:lpstr>B4P Low-Code Integration and Analytics Engine Main Components</vt:lpstr>
      <vt:lpstr>B4P Language Provides Highest Code Performance and Efficiency </vt:lpstr>
      <vt:lpstr>B4P Language Key Features</vt:lpstr>
      <vt:lpstr>B4P  Examples</vt:lpstr>
      <vt:lpstr>B4P Example #1 Merging Two Soccer Clubs</vt:lpstr>
      <vt:lpstr>PowerPoint-Präsentation</vt:lpstr>
      <vt:lpstr>PowerPoint-Präsentation</vt:lpstr>
      <vt:lpstr>B4P Example #2 Combine Online Stock Data: SP 500 and NASDAQ 100</vt:lpstr>
      <vt:lpstr>B4P Example #2 Combining Stock Data: SP 500 and NASDAQ 100</vt:lpstr>
      <vt:lpstr>B4P Example #3 Analyzing all Presidents in Wikipedia</vt:lpstr>
      <vt:lpstr>PowerPoint-Präsentation</vt:lpstr>
      <vt:lpstr>B4P  Real-World  Use Cases</vt:lpstr>
      <vt:lpstr>B4P Real-world Use Case #1 Integrating Corporate data from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Real-world Use Case #4 Merger and Acquisition</vt:lpstr>
      <vt:lpstr>B4P  Beyond Former Performance.</vt:lpstr>
      <vt:lpstr>B4P Solution Supported Data Formats</vt:lpstr>
      <vt:lpstr>B4P Use Case Automatic documentation generation for website www.b4p.app</vt:lpstr>
      <vt:lpstr>B4P Use Case Automatic Document Generation for www.b4p.app using B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473</cp:revision>
  <cp:lastPrinted>2012-05-04T14:30:29Z</cp:lastPrinted>
  <dcterms:created xsi:type="dcterms:W3CDTF">2016-02-06T20:40:56Z</dcterms:created>
  <dcterms:modified xsi:type="dcterms:W3CDTF">2021-05-30T15:55:07Z</dcterms:modified>
</cp:coreProperties>
</file>